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61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811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A697350-9720-4208-9E53-0D0E84B2E74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0174934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避免润滑带来的高昂停机成本，保持设备效率</a:t>
            </a:r>
            <a:endParaRPr lang="zh-C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450" y="1421407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latin typeface="FZZhunYuan-M02S"/>
                <a:cs typeface="FZZhunYuan-M02S"/>
              </a:rPr>
              <a:t>集中式自动润滑系统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生产效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无菌灌装机（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FMa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）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P00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减少维护时间：平均每生产</a:t>
                      </a: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1500</a:t>
                      </a: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小时需要停机维护</a:t>
                      </a: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30</a:t>
                      </a: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分钟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避免活动件上积聚润滑脂带来的污染风险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保持设备效率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自动润滑系统消除了灌装机未润滑的活动件带来的污染风险，保证设备完全按西得乐最佳实践操作准则来工作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该系统通过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PLC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机控制管理，可根据预设的机器运转时间间隔，润滑机器的不同位置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PLC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出现故障时，可手动润滑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266" y="3585576"/>
            <a:ext cx="3328637" cy="19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11">
            <a:extLst>
              <a:ext uri="{FF2B5EF4-FFF2-40B4-BE49-F238E27FC236}">
                <a16:creationId xmlns:a16="http://schemas.microsoft.com/office/drawing/2014/main" id="{C2D811ED-F064-448B-9A98-44E80480E67F}"/>
              </a:ext>
            </a:extLst>
          </p:cNvPr>
          <p:cNvSpPr/>
          <p:nvPr/>
        </p:nvSpPr>
        <p:spPr>
          <a:xfrm>
            <a:off x="4770408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1553295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del_Template_4x3_v1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1_Sidel_Template_4x3_v1</vt:lpstr>
      <vt:lpstr>think-cell Folie</vt:lpstr>
      <vt:lpstr>避免润滑带来的高昂停机成本，保持设备效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2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28:57.970526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